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3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4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5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6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738" r:id="rId1"/>
    <p:sldMasterId id="2147483750" r:id="rId2"/>
    <p:sldMasterId id="2147483770" r:id="rId3"/>
    <p:sldMasterId id="2147483783" r:id="rId4"/>
    <p:sldMasterId id="2147483795" r:id="rId5"/>
    <p:sldMasterId id="2147483811" r:id="rId6"/>
    <p:sldMasterId id="2147483827" r:id="rId7"/>
    <p:sldMasterId id="2147483840" r:id="rId8"/>
    <p:sldMasterId id="2147483857" r:id="rId9"/>
    <p:sldMasterId id="2147483869" r:id="rId10"/>
    <p:sldMasterId id="2147483885" r:id="rId11"/>
    <p:sldMasterId id="2147483901" r:id="rId12"/>
    <p:sldMasterId id="2147483913" r:id="rId13"/>
    <p:sldMasterId id="2147483927" r:id="rId14"/>
    <p:sldMasterId id="2147483939" r:id="rId15"/>
    <p:sldMasterId id="2147483952" r:id="rId16"/>
    <p:sldMasterId id="2147483964" r:id="rId17"/>
  </p:sldMasterIdLst>
  <p:notesMasterIdLst>
    <p:notesMasterId r:id="rId25"/>
  </p:notesMasterIdLst>
  <p:handoutMasterIdLst>
    <p:handoutMasterId r:id="rId26"/>
  </p:handoutMasterIdLst>
  <p:sldIdLst>
    <p:sldId id="1172" r:id="rId18"/>
    <p:sldId id="1192" r:id="rId19"/>
    <p:sldId id="1173" r:id="rId20"/>
    <p:sldId id="1189" r:id="rId21"/>
    <p:sldId id="1187" r:id="rId22"/>
    <p:sldId id="1190" r:id="rId23"/>
    <p:sldId id="1188" r:id="rId24"/>
  </p:sldIdLst>
  <p:sldSz cx="9906000" cy="6858000" type="A4"/>
  <p:notesSz cx="7099300" cy="10234613"/>
  <p:custDataLst>
    <p:tags r:id="rId27"/>
  </p:custDataLst>
  <p:defaultTextStyle>
    <a:defPPr>
      <a:defRPr lang="ru-RU"/>
    </a:defPPr>
    <a:lvl1pPr algn="l" rtl="0" fontAlgn="base">
      <a:spcBef>
        <a:spcPct val="40000"/>
      </a:spcBef>
      <a:spcAft>
        <a:spcPct val="20000"/>
      </a:spcAft>
      <a:defRPr sz="1600" kern="1200">
        <a:solidFill>
          <a:schemeClr val="hlink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40000"/>
      </a:spcBef>
      <a:spcAft>
        <a:spcPct val="20000"/>
      </a:spcAft>
      <a:defRPr sz="1600" kern="1200">
        <a:solidFill>
          <a:schemeClr val="hlink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40000"/>
      </a:spcBef>
      <a:spcAft>
        <a:spcPct val="20000"/>
      </a:spcAft>
      <a:defRPr sz="1600" kern="1200">
        <a:solidFill>
          <a:schemeClr val="hlink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40000"/>
      </a:spcBef>
      <a:spcAft>
        <a:spcPct val="20000"/>
      </a:spcAft>
      <a:defRPr sz="1600" kern="1200">
        <a:solidFill>
          <a:schemeClr val="hlink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40000"/>
      </a:spcBef>
      <a:spcAft>
        <a:spcPct val="20000"/>
      </a:spcAft>
      <a:defRPr sz="1600" kern="1200">
        <a:solidFill>
          <a:schemeClr val="hlink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hlink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hlink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hlink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hlink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55">
          <p15:clr>
            <a:srgbClr val="A4A3A4"/>
          </p15:clr>
        </p15:guide>
        <p15:guide id="2" orient="horz" pos="4319">
          <p15:clr>
            <a:srgbClr val="A4A3A4"/>
          </p15:clr>
        </p15:guide>
        <p15:guide id="3" orient="horz" pos="3547">
          <p15:clr>
            <a:srgbClr val="A4A3A4"/>
          </p15:clr>
        </p15:guide>
        <p15:guide id="4" orient="horz" pos="4315">
          <p15:clr>
            <a:srgbClr val="A4A3A4"/>
          </p15:clr>
        </p15:guide>
        <p15:guide id="5" orient="horz" pos="789">
          <p15:clr>
            <a:srgbClr val="A4A3A4"/>
          </p15:clr>
        </p15:guide>
        <p15:guide id="6" orient="horz" pos="2808">
          <p15:clr>
            <a:srgbClr val="A4A3A4"/>
          </p15:clr>
        </p15:guide>
        <p15:guide id="7" pos="6075">
          <p15:clr>
            <a:srgbClr val="A4A3A4"/>
          </p15:clr>
        </p15:guide>
        <p15:guide id="8" pos="6239">
          <p15:clr>
            <a:srgbClr val="A4A3A4"/>
          </p15:clr>
        </p15:guide>
        <p15:guide id="9" pos="5666">
          <p15:clr>
            <a:srgbClr val="A4A3A4"/>
          </p15:clr>
        </p15:guide>
        <p15:guide id="10" pos="6182">
          <p15:clr>
            <a:srgbClr val="A4A3A4"/>
          </p15:clr>
        </p15:guide>
        <p15:guide id="11" pos="5665">
          <p15:clr>
            <a:srgbClr val="A4A3A4"/>
          </p15:clr>
        </p15:guide>
        <p15:guide id="12" pos="50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5">
          <p15:clr>
            <a:srgbClr val="A4A3A4"/>
          </p15:clr>
        </p15:guide>
        <p15:guide id="2" pos="357">
          <p15:clr>
            <a:srgbClr val="A4A3A4"/>
          </p15:clr>
        </p15:guide>
        <p15:guide id="3" pos="43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udenko" initials="EA" lastIdx="9" clrIdx="0"/>
  <p:cmAuthor id="1" name="Администратор" initials="А" lastIdx="1" clrIdx="1"/>
  <p:cmAuthor id="2" name="Платов М.А." initials="МАП" lastIdx="14" clrIdx="2"/>
  <p:cmAuthor id="3" name="Karmatsky" initials="VK" lastIdx="4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76"/>
    <a:srgbClr val="B1CFE5"/>
    <a:srgbClr val="003274"/>
    <a:srgbClr val="E7F1F9"/>
    <a:srgbClr val="000000"/>
    <a:srgbClr val="8E0000"/>
    <a:srgbClr val="329A16"/>
    <a:srgbClr val="4D3D41"/>
    <a:srgbClr val="CCB0C7"/>
    <a:srgbClr val="3C6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39" autoAdjust="0"/>
    <p:restoredTop sz="94205" autoAdjust="0"/>
  </p:normalViewPr>
  <p:slideViewPr>
    <p:cSldViewPr snapToGrid="0">
      <p:cViewPr varScale="1">
        <p:scale>
          <a:sx n="79" d="100"/>
          <a:sy n="79" d="100"/>
        </p:scale>
        <p:origin x="1531" y="82"/>
      </p:cViewPr>
      <p:guideLst>
        <p:guide orient="horz" pos="3055"/>
        <p:guide orient="horz" pos="4319"/>
        <p:guide orient="horz" pos="3547"/>
        <p:guide orient="horz" pos="4315"/>
        <p:guide orient="horz" pos="789"/>
        <p:guide orient="horz" pos="2808"/>
        <p:guide pos="6075"/>
        <p:guide pos="6239"/>
        <p:guide pos="5666"/>
        <p:guide pos="6182"/>
        <p:guide pos="5665"/>
        <p:guide pos="50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3" d="100"/>
          <a:sy n="83" d="100"/>
        </p:scale>
        <p:origin x="-3846" y="-72"/>
      </p:cViewPr>
      <p:guideLst>
        <p:guide orient="horz" pos="3225"/>
        <p:guide pos="357"/>
        <p:guide pos="43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7137" cy="512223"/>
          </a:xfrm>
          <a:prstGeom prst="rect">
            <a:avLst/>
          </a:prstGeom>
        </p:spPr>
        <p:txBody>
          <a:bodyPr vert="horz" lIns="94706" tIns="47351" rIns="94706" bIns="4735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0506" y="1"/>
            <a:ext cx="3077137" cy="512223"/>
          </a:xfrm>
          <a:prstGeom prst="rect">
            <a:avLst/>
          </a:prstGeom>
        </p:spPr>
        <p:txBody>
          <a:bodyPr vert="horz" lIns="94706" tIns="47351" rIns="94706" bIns="47351" rtlCol="0"/>
          <a:lstStyle>
            <a:lvl1pPr algn="r">
              <a:defRPr sz="1200"/>
            </a:lvl1pPr>
          </a:lstStyle>
          <a:p>
            <a:fld id="{CA9A24D3-0898-4A8F-8639-37B1CE990BA6}" type="datetimeFigureOut">
              <a:rPr lang="ru-RU" smtClean="0"/>
              <a:pPr/>
              <a:t>21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720757"/>
            <a:ext cx="3077137" cy="512223"/>
          </a:xfrm>
          <a:prstGeom prst="rect">
            <a:avLst/>
          </a:prstGeom>
        </p:spPr>
        <p:txBody>
          <a:bodyPr vert="horz" lIns="94706" tIns="47351" rIns="94706" bIns="4735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0506" y="9720757"/>
            <a:ext cx="3077137" cy="512223"/>
          </a:xfrm>
          <a:prstGeom prst="rect">
            <a:avLst/>
          </a:prstGeom>
        </p:spPr>
        <p:txBody>
          <a:bodyPr vert="horz" lIns="94706" tIns="47351" rIns="94706" bIns="47351" rtlCol="0" anchor="b"/>
          <a:lstStyle>
            <a:lvl1pPr algn="r">
              <a:defRPr sz="1200"/>
            </a:lvl1pPr>
          </a:lstStyle>
          <a:p>
            <a:fld id="{5AE297B5-5614-4C91-8ADC-531BD2C6E02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0627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theme" Target="../theme/theme18.xml"/><Relationship Id="rId4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8" name="Rectangle 10"/>
          <p:cNvSpPr>
            <a:spLocks noChangeArrowheads="1"/>
          </p:cNvSpPr>
          <p:nvPr/>
        </p:nvSpPr>
        <p:spPr bwMode="auto">
          <a:xfrm>
            <a:off x="568610" y="7702758"/>
            <a:ext cx="6275979" cy="253820"/>
          </a:xfrm>
          <a:prstGeom prst="rect">
            <a:avLst/>
          </a:prstGeom>
          <a:solidFill>
            <a:srgbClr val="CEE3F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ru-RU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450" y="684213"/>
            <a:ext cx="7318375" cy="50657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610" y="5924006"/>
            <a:ext cx="6275979" cy="3793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Образец текста</a:t>
            </a:r>
          </a:p>
          <a:p>
            <a:pPr lvl="2"/>
            <a:r>
              <a:rPr lang="ru-RU" smtClean="0"/>
              <a:t>Второй уровень</a:t>
            </a:r>
          </a:p>
        </p:txBody>
      </p:sp>
      <p:sp>
        <p:nvSpPr>
          <p:cNvPr id="7179" name="Line 11"/>
          <p:cNvSpPr>
            <a:spLocks noChangeShapeType="1"/>
          </p:cNvSpPr>
          <p:nvPr/>
        </p:nvSpPr>
        <p:spPr bwMode="auto">
          <a:xfrm>
            <a:off x="568610" y="9792181"/>
            <a:ext cx="6275979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lIns="95421" tIns="47709" rIns="95421" bIns="47709"/>
          <a:lstStyle/>
          <a:p>
            <a:endParaRPr lang="ru-RU"/>
          </a:p>
        </p:txBody>
      </p:sp>
      <p:sp>
        <p:nvSpPr>
          <p:cNvPr id="7180" name="Line 12"/>
          <p:cNvSpPr>
            <a:spLocks noChangeShapeType="1"/>
          </p:cNvSpPr>
          <p:nvPr/>
        </p:nvSpPr>
        <p:spPr bwMode="auto">
          <a:xfrm>
            <a:off x="6502762" y="9792185"/>
            <a:ext cx="0" cy="442432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lIns="95421" tIns="47709" rIns="95421" bIns="47709"/>
          <a:lstStyle/>
          <a:p>
            <a:endParaRPr lang="ru-RU"/>
          </a:p>
        </p:txBody>
      </p:sp>
      <p:sp>
        <p:nvSpPr>
          <p:cNvPr id="7182" name="Rectangle 1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2737" y="9646488"/>
            <a:ext cx="3076363" cy="511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21" tIns="47709" rIns="95421" bIns="47709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spcAft>
                <a:spcPct val="0"/>
              </a:spcAft>
              <a:defRPr sz="1100">
                <a:solidFill>
                  <a:schemeClr val="accent2"/>
                </a:solidFill>
              </a:defRPr>
            </a:lvl1pPr>
          </a:lstStyle>
          <a:p>
            <a:fld id="{966EA96B-12DB-4E13-89C2-B6C0A19C6B56}" type="slidenum">
              <a:rPr lang="ru-RU"/>
              <a:pPr/>
              <a:t>‹#›</a:t>
            </a:fld>
            <a:endParaRPr lang="ru-RU"/>
          </a:p>
        </p:txBody>
      </p:sp>
      <p:pic>
        <p:nvPicPr>
          <p:cNvPr id="7184" name="Picture 16" descr="оо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0150" y="-3542"/>
            <a:ext cx="6384440" cy="6254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545811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110000"/>
      </a:lnSpc>
      <a:spcBef>
        <a:spcPct val="10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192088" indent="-90488" algn="l" rtl="0" fontAlgn="base">
      <a:lnSpc>
        <a:spcPct val="110000"/>
      </a:lnSpc>
      <a:spcBef>
        <a:spcPct val="10000"/>
      </a:spcBef>
      <a:spcAft>
        <a:spcPct val="0"/>
      </a:spcAft>
      <a:buBlip>
        <a:blip r:embed="rId3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74638" indent="-80963" algn="l" rtl="0" fontAlgn="base">
      <a:spcBef>
        <a:spcPct val="0"/>
      </a:spcBef>
      <a:spcAft>
        <a:spcPct val="0"/>
      </a:spcAft>
      <a:buBlip>
        <a:blip r:embed="rId4"/>
      </a:buBlip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69880" indent="-29610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84431" indent="-23688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58203" indent="-23688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31976" indent="-23688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05749" indent="-236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079520" indent="-236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53293" indent="-236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027065" indent="-2368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73F62195-7647-4B15-ABFB-149EE8020D65}" type="slidenum">
              <a:rPr lang="ru-RU" altLang="en-US" smtClean="0">
                <a:solidFill>
                  <a:prstClr val="black"/>
                </a:solidFill>
              </a:rPr>
              <a:pPr eaLnBrk="1" hangingPunct="1"/>
              <a:t>1</a:t>
            </a:fld>
            <a:endParaRPr lang="ru-RU" altLang="en-US" smtClean="0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2388" y="690563"/>
            <a:ext cx="7326312" cy="5072062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7762" y="5963084"/>
            <a:ext cx="6134650" cy="374203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7.xml"/><Relationship Id="rId12" Type="http://schemas.openxmlformats.org/officeDocument/2006/relationships/image" Target="../media/image1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2.png"/><Relationship Id="rId5" Type="http://schemas.openxmlformats.org/officeDocument/2006/relationships/tags" Target="../tags/tag5.xml"/><Relationship Id="rId10" Type="http://schemas.openxmlformats.org/officeDocument/2006/relationships/image" Target="../media/image11.png"/><Relationship Id="rId4" Type="http://schemas.openxmlformats.org/officeDocument/2006/relationships/tags" Target="../tags/tag4.xml"/><Relationship Id="rId9" Type="http://schemas.openxmlformats.org/officeDocument/2006/relationships/image" Target="../media/image10.emf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6212" y="985210"/>
            <a:ext cx="1129149" cy="921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25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1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8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43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75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5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66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0450" y="729407"/>
            <a:ext cx="1442302" cy="1177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2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7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6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38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9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7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40" y="293688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1164" y="2181230"/>
            <a:ext cx="8521567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1167" y="3644903"/>
            <a:ext cx="7245482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4E798FA-B665-4D11-9FAF-96EEDE0EA5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AAA7763-B9E9-4953-96B5-8A48FC7AD8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557338"/>
            <a:ext cx="4363111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557338"/>
            <a:ext cx="4363112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AFEC911-1EB5-4771-8F7C-A393EBF6E6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98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1813987-DE78-4000-9DAE-B2C82F7416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782A63A-EB6C-4FB2-93EF-5253BE5924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67E3287-B6C7-41F3-A977-4182F637CC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B6045E3-E321-4F1F-B539-57D01AE873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7D43967-83D6-42BF-A34A-026A3F4FF3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1E46CC4-91EF-415F-8B0E-989C1356D6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76691" y="77788"/>
            <a:ext cx="2221971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2" y="77788"/>
            <a:ext cx="6504252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F81F2DE-D740-4478-BD66-7BA451C638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2" y="77790"/>
            <a:ext cx="8891323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2" y="1557338"/>
            <a:ext cx="8891323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39FC7E9-3E86-4E0D-9EF2-E7BE878E65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2" y="77790"/>
            <a:ext cx="8891323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507342" y="1557338"/>
            <a:ext cx="8891323" cy="452755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99F276F-CA37-4294-BA91-D0D391D60B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1164" y="2181230"/>
            <a:ext cx="8521567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57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1164" y="3789363"/>
            <a:ext cx="7207646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157703" name="Picture 7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40" y="293688"/>
            <a:ext cx="1814381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50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5094A4-A60C-4F83-A664-4E58032021B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9FF3A1-5271-4E02-BEEA-86A0FA31AE8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557338"/>
            <a:ext cx="4363111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557338"/>
            <a:ext cx="4363112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35E060D-940B-415F-B23D-CCE6721D8E5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5D78E7-9AD8-4C5A-A568-2E10D28E6F9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F045D80-F69E-4942-855E-A8CEE79EF90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636F8EE-C13C-4821-918A-BDCDCE281C2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F9DCCD-D4FB-4D65-87E3-6EA8BAE0D37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5D1395-B83F-43FB-B89B-B91C6BE9956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5295B5-33E5-44E7-8DFD-8FA7E739CF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76691" y="77788"/>
            <a:ext cx="2221971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2" y="77788"/>
            <a:ext cx="6504252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37A26B-477C-44AE-9406-5A3A53B302D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55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03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67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450" y="729411"/>
            <a:ext cx="1442302" cy="1177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43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8161784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691999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1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25855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75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01123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450974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28471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532779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639373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82964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133130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417341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60" t="20378" r="13101" b="63089"/>
          <a:stretch>
            <a:fillRect/>
          </a:stretch>
        </p:blipFill>
        <p:spPr bwMode="auto">
          <a:xfrm>
            <a:off x="303213" y="190500"/>
            <a:ext cx="9602787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88" t="65187" r="11069" b="12440"/>
          <a:stretch>
            <a:fillRect/>
          </a:stretch>
        </p:blipFill>
        <p:spPr bwMode="auto">
          <a:xfrm>
            <a:off x="4171950" y="4662488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\\axes-server\SHARED DOCUMENTS\HEWITT\01_ENGAGEMENT\05_BES\02_Marketing\03_Originals\BES logos\лого-прямоугольный(ЧБ)v2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188" y="482600"/>
            <a:ext cx="1382712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2" descr="aon_hewitt_logo_black_larg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349250"/>
            <a:ext cx="22621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0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4350" y="3348831"/>
            <a:ext cx="7315200" cy="1630363"/>
          </a:xfrm>
          <a:ln w="12700"/>
        </p:spPr>
        <p:txBody>
          <a:bodyPr anchor="t"/>
          <a:lstStyle>
            <a:lvl1pPr algn="l">
              <a:lnSpc>
                <a:spcPct val="90000"/>
              </a:lnSpc>
              <a:defRPr sz="3700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71640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32905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43541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2125" y="1141413"/>
            <a:ext cx="4379913" cy="4954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38" y="1141413"/>
            <a:ext cx="4379912" cy="4954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1764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62960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1981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026906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2766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637018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428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77088" y="301625"/>
            <a:ext cx="2227262" cy="5794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125" y="301625"/>
            <a:ext cx="6532563" cy="579437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90240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25" y="301625"/>
            <a:ext cx="89122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92125" y="1141413"/>
            <a:ext cx="8912225" cy="49545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58135656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25" y="301625"/>
            <a:ext cx="89122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2125" y="1141413"/>
            <a:ext cx="8912225" cy="2400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2125" y="3694113"/>
            <a:ext cx="8912225" cy="24018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69402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25" y="301625"/>
            <a:ext cx="89122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2125" y="1141413"/>
            <a:ext cx="8912225" cy="49545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385405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25" y="301625"/>
            <a:ext cx="89122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2125" y="1141413"/>
            <a:ext cx="4379913" cy="4954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38" y="1141413"/>
            <a:ext cx="4379912" cy="4954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94189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125" y="301625"/>
            <a:ext cx="89122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2125" y="1141413"/>
            <a:ext cx="4379913" cy="49545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24438" y="1141413"/>
            <a:ext cx="4379912" cy="2400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024438" y="3694113"/>
            <a:ext cx="4379912" cy="24018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696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laceHolder 1"/>
          <p:cNvSpPr>
            <a:spLocks noGrp="1"/>
          </p:cNvSpPr>
          <p:nvPr>
            <p:ph type="title"/>
          </p:nvPr>
        </p:nvSpPr>
        <p:spPr>
          <a:xfrm>
            <a:off x="507390" y="0"/>
            <a:ext cx="8268390" cy="961920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endParaRPr/>
          </a:p>
        </p:txBody>
      </p:sp>
      <p:sp>
        <p:nvSpPr>
          <p:cNvPr id="41" name="PlaceHolder 2"/>
          <p:cNvSpPr>
            <a:spLocks noGrp="1"/>
          </p:cNvSpPr>
          <p:nvPr>
            <p:ph type="subTitle"/>
          </p:nvPr>
        </p:nvSpPr>
        <p:spPr>
          <a:xfrm>
            <a:off x="273000" y="1268280"/>
            <a:ext cx="9363120" cy="5043600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pPr algn="ctr"/>
            <a:endParaRPr/>
          </a:p>
        </p:txBody>
      </p:sp>
    </p:spTree>
    <p:extLst>
      <p:ext uri="{BB962C8B-B14F-4D97-AF65-F5344CB8AC3E}">
        <p14:creationId xmlns:p14="http://schemas.microsoft.com/office/powerpoint/2010/main" val="353712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332037" y="1484404"/>
            <a:ext cx="7573963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1164" y="3789363"/>
            <a:ext cx="7207646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945AAC-AF2F-4290-A996-7A88967908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9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5E22BF-684D-4D77-90E6-6639630510E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1" y="1557338"/>
            <a:ext cx="4363111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557338"/>
            <a:ext cx="4363112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C1608-D3EE-4905-AB18-0FAFDF5E02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1CE09-33F1-4B2B-94C7-103BC6C008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63039" y="6478679"/>
            <a:ext cx="42650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32F599-AB5A-462A-8989-FAF9E99A1E1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0" y="955375"/>
            <a:ext cx="9906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0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7E78F9-436B-4AF8-9B5F-7696E14A7DC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CF4FB5-1668-472D-9E0D-75A84073589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49FFA-9D51-4777-B83C-84F63B8C0D2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7BFA42-209A-4BFB-A78D-FC5583AB049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76691" y="77788"/>
            <a:ext cx="2221971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77788"/>
            <a:ext cx="6504252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3D303C-0FAE-4796-B9F6-1EC99B6960A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88" y="77790"/>
            <a:ext cx="8891323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07351" y="1557338"/>
            <a:ext cx="4363111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557338"/>
            <a:ext cx="4363112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26CBA6-ECE3-499D-8DC8-30D439B1F3B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1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88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4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51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307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8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41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99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7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8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37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87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6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2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30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4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45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9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7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54"/>
            <a:ext cx="89154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7099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spcBef>
                <a:spcPct val="40000"/>
              </a:spcBef>
              <a:spcAft>
                <a:spcPct val="20000"/>
              </a:spcAft>
              <a:defRPr/>
            </a:pPr>
            <a:fld id="{9EB4D382-4273-4B77-A1FA-C24BCA7D32EF}" type="slidenum">
              <a:rPr lang="ru-RU" sz="1600">
                <a:solidFill>
                  <a:srgbClr val="003274"/>
                </a:solidFill>
              </a:rPr>
              <a:pPr>
                <a:spcBef>
                  <a:spcPct val="40000"/>
                </a:spcBef>
                <a:spcAft>
                  <a:spcPct val="20000"/>
                </a:spcAft>
                <a:defRPr/>
              </a:pPr>
              <a:t>‹#›</a:t>
            </a:fld>
            <a:endParaRPr lang="ru-RU" sz="1600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58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75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6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5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66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7.xml"/><Relationship Id="rId16" Type="http://schemas.openxmlformats.org/officeDocument/2006/relationships/hyperlink" Target="http://www.rosatom.ru/" TargetMode="Externa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hyperlink" Target="http://www.rosatom.ru/" TargetMode="Externa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hyperlink" Target="http://www.rosatom.ru/" TargetMode="Externa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hyperlink" Target="http://www.rosatom.ru/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1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2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1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7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63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2" y="1557338"/>
            <a:ext cx="8891323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27187" y="6448430"/>
            <a:ext cx="87881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+mn-lt"/>
                <a:cs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3BADE8E-37B5-4FED-8D84-7C658A42FF17}" type="slidenum">
              <a:rPr lang="ru-RU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2" y="77790"/>
            <a:ext cx="8891323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6"/>
          </p:cNvPr>
          <p:cNvSpPr txBox="1">
            <a:spLocks noChangeArrowheads="1"/>
          </p:cNvSpPr>
          <p:nvPr/>
        </p:nvSpPr>
        <p:spPr bwMode="auto">
          <a:xfrm>
            <a:off x="507339" y="6529389"/>
            <a:ext cx="13975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>
                <a:solidFill>
                  <a:srgbClr val="003274"/>
                </a:solidFill>
                <a:latin typeface="Arial"/>
              </a:rPr>
              <a:t>www.rosatom.ru</a:t>
            </a:r>
            <a:endParaRPr lang="ru-RU" sz="1400" b="1">
              <a:solidFill>
                <a:srgbClr val="003274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7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8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2" y="1557338"/>
            <a:ext cx="8891323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566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27187" y="6448430"/>
            <a:ext cx="87881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ED7D831-90B2-438A-9918-C3FBDC415F90}" type="slidenum">
              <a:rPr lang="ru-RU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5667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507342" y="77790"/>
            <a:ext cx="8891323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56679" name="Text Box 7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507339" y="6529389"/>
            <a:ext cx="13975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3274"/>
                </a:solidFill>
              </a:rPr>
              <a:t>www.rosatom.ru</a:t>
            </a:r>
            <a:endParaRPr lang="ru-RU" sz="1400" b="1">
              <a:solidFill>
                <a:srgbClr val="00327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fontAlgn="base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fontAlgn="base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5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63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5518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1"/>
          <p:cNvSpPr>
            <a:spLocks noChangeArrowheads="1"/>
          </p:cNvSpPr>
          <p:nvPr/>
        </p:nvSpPr>
        <p:spPr bwMode="auto">
          <a:xfrm>
            <a:off x="4613275" y="6688138"/>
            <a:ext cx="684213" cy="10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7312" tIns="44450" rIns="87312" bIns="44450" anchor="ctr"/>
          <a:lstStyle>
            <a:lvl1pPr defTabSz="873125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3125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3125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3125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3125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spcAft>
                <a:spcPct val="0"/>
              </a:spcAft>
              <a:defRPr/>
            </a:pPr>
            <a:fld id="{91A4F096-0269-456F-84F7-C7A3DDF36B12}" type="slidenum">
              <a:rPr lang="en-US" altLang="ru-RU" sz="900" smtClean="0">
                <a:solidFill>
                  <a:srgbClr val="000000"/>
                </a:solidFill>
              </a:rPr>
              <a:pPr algn="ctr" ea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 sz="900" smtClean="0">
              <a:solidFill>
                <a:srgbClr val="000000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2125" y="1141413"/>
            <a:ext cx="8912225" cy="4954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492125" y="301625"/>
            <a:ext cx="89122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9" name="Line 34"/>
          <p:cNvSpPr>
            <a:spLocks noChangeShapeType="1"/>
          </p:cNvSpPr>
          <p:nvPr/>
        </p:nvSpPr>
        <p:spPr bwMode="auto">
          <a:xfrm>
            <a:off x="495300" y="914400"/>
            <a:ext cx="8915400" cy="1588"/>
          </a:xfrm>
          <a:prstGeom prst="line">
            <a:avLst/>
          </a:prstGeom>
          <a:noFill/>
          <a:ln w="22225">
            <a:solidFill>
              <a:srgbClr val="045F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2" name="Text Box 3">
            <a:hlinkClick r:id="rId18"/>
          </p:cNvPr>
          <p:cNvSpPr txBox="1">
            <a:spLocks noChangeArrowheads="1"/>
          </p:cNvSpPr>
          <p:nvPr userDrawn="1"/>
        </p:nvSpPr>
        <p:spPr bwMode="auto">
          <a:xfrm>
            <a:off x="4457700" y="6384925"/>
            <a:ext cx="1027113" cy="152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3274"/>
                </a:solidFill>
                <a:hlinkClick r:id="rId18"/>
              </a:rPr>
              <a:t>www.rosatom.ru</a:t>
            </a:r>
            <a:r>
              <a:rPr lang="ru-RU" sz="1000" dirty="0" smtClean="0">
                <a:solidFill>
                  <a:srgbClr val="003274"/>
                </a:solidFill>
              </a:rPr>
              <a:t> </a:t>
            </a:r>
          </a:p>
        </p:txBody>
      </p:sp>
      <p:sp>
        <p:nvSpPr>
          <p:cNvPr id="1031" name="Line 34"/>
          <p:cNvSpPr>
            <a:spLocks noChangeShapeType="1"/>
          </p:cNvSpPr>
          <p:nvPr userDrawn="1"/>
        </p:nvSpPr>
        <p:spPr bwMode="auto">
          <a:xfrm>
            <a:off x="647700" y="6146800"/>
            <a:ext cx="8915400" cy="1588"/>
          </a:xfrm>
          <a:prstGeom prst="line">
            <a:avLst/>
          </a:prstGeom>
          <a:noFill/>
          <a:ln w="22225">
            <a:solidFill>
              <a:srgbClr val="045F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eaLnBrk="0" hangingPunct="0">
              <a:spcBef>
                <a:spcPct val="0"/>
              </a:spcBef>
              <a:spcAft>
                <a:spcPct val="0"/>
              </a:spcAft>
            </a:pPr>
            <a:endParaRPr lang="ru-RU" sz="14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547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  <p:sldLayoutId id="2147483976" r:id="rId12"/>
    <p:sldLayoutId id="2147483977" r:id="rId13"/>
    <p:sldLayoutId id="2147483978" r:id="rId14"/>
    <p:sldLayoutId id="2147483979" r:id="rId15"/>
    <p:sldLayoutId id="2147483980" r:id="rId1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45FA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45FA3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45FA3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45FA3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45FA3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5000"/>
        </a:spcBef>
        <a:spcAft>
          <a:spcPct val="0"/>
        </a:spcAft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4572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–"/>
        <a:defRPr sz="1400">
          <a:solidFill>
            <a:srgbClr val="000000"/>
          </a:solidFill>
          <a:latin typeface="+mn-lt"/>
        </a:defRPr>
      </a:lvl3pPr>
      <a:lvl4pPr marL="6858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000000"/>
          </a:solidFill>
          <a:latin typeface="+mn-lt"/>
        </a:defRPr>
      </a:lvl4pPr>
      <a:lvl5pPr marL="911225" indent="-223838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rgbClr val="000000"/>
          </a:solidFill>
          <a:latin typeface="+mn-lt"/>
        </a:defRPr>
      </a:lvl5pPr>
      <a:lvl6pPr marL="13684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rgbClr val="000000"/>
          </a:solidFill>
          <a:latin typeface="+mn-lt"/>
        </a:defRPr>
      </a:lvl6pPr>
      <a:lvl7pPr marL="18256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rgbClr val="000000"/>
          </a:solidFill>
          <a:latin typeface="+mn-lt"/>
        </a:defRPr>
      </a:lvl7pPr>
      <a:lvl8pPr marL="22828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rgbClr val="000000"/>
          </a:solidFill>
          <a:latin typeface="+mn-lt"/>
        </a:defRPr>
      </a:lvl8pPr>
      <a:lvl9pPr marL="27400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23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95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88" y="1557338"/>
            <a:ext cx="8891323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27187" y="6448516"/>
            <a:ext cx="87881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966625D7-3260-4256-8500-1E76E4000905}" type="slidenum">
              <a:rPr lang="ru-RU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88" y="77790"/>
            <a:ext cx="8891323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507387" y="6529389"/>
            <a:ext cx="9984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13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507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99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87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4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7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ED272EA8-4B81-4A31-A7C3-D00B044141D1}" type="slidenum">
              <a:rPr lang="ru-RU" sz="1800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53" indent="-1809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20" indent="-1777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1911" indent="-268256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088" indent="-22857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026" indent="-22857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171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16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462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07" indent="-22857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YuVGolubchikova@Greenatom.ru" TargetMode="External"/><Relationship Id="rId7" Type="http://schemas.openxmlformats.org/officeDocument/2006/relationships/hyperlink" Target="https://rosatom-career.ru/vacancies" TargetMode="External"/><Relationship Id="rId2" Type="http://schemas.openxmlformats.org/officeDocument/2006/relationships/hyperlink" Target="mailto:cmp@rosatom.ru" TargetMode="External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29.png"/><Relationship Id="rId5" Type="http://schemas.openxmlformats.org/officeDocument/2006/relationships/image" Target="../media/image15.jpg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8268" y="6731000"/>
            <a:ext cx="6985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75360" y="2322388"/>
            <a:ext cx="7788987" cy="356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hangingPunct="0">
              <a:lnSpc>
                <a:spcPct val="90000"/>
              </a:lnSpc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Добро пожаловать </a:t>
            </a:r>
          </a:p>
          <a:p>
            <a:pPr lvl="0" algn="ctr" eaLnBrk="0" hangingPunct="0">
              <a:lnSpc>
                <a:spcPct val="90000"/>
              </a:lnSpc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на «Чепецкий механический завод»</a:t>
            </a:r>
            <a:endParaRPr lang="en-US" sz="3200" b="1" dirty="0" smtClean="0">
              <a:solidFill>
                <a:srgbClr val="002060"/>
              </a:solidFill>
            </a:endParaRPr>
          </a:p>
          <a:p>
            <a:pPr algn="ctr" eaLnBrk="0" hangingPunct="0">
              <a:lnSpc>
                <a:spcPct val="90000"/>
              </a:lnSpc>
              <a:defRPr/>
            </a:pPr>
            <a:endParaRPr lang="en-US" sz="1000" dirty="0" smtClean="0">
              <a:solidFill>
                <a:srgbClr val="002060"/>
              </a:solidFill>
            </a:endParaRPr>
          </a:p>
          <a:p>
            <a:pPr algn="ctr" eaLnBrk="0" hangingPunct="0">
              <a:lnSpc>
                <a:spcPct val="90000"/>
              </a:lnSpc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Удмуртская Республика, г. Глазов</a:t>
            </a:r>
          </a:p>
          <a:p>
            <a:pPr lvl="0" algn="ctr" eaLnBrk="0" hangingPunct="0">
              <a:lnSpc>
                <a:spcPct val="90000"/>
              </a:lnSpc>
              <a:defRPr/>
            </a:pPr>
            <a:endParaRPr lang="ru-RU" sz="3200" b="1" dirty="0" smtClean="0">
              <a:solidFill>
                <a:srgbClr val="002060"/>
              </a:solidFill>
            </a:endParaRPr>
          </a:p>
          <a:p>
            <a:pPr eaLnBrk="0" hangingPunct="0">
              <a:lnSpc>
                <a:spcPct val="90000"/>
              </a:lnSpc>
              <a:defRPr/>
            </a:pP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5" name="Рисунок 4" descr="лого рус гориз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1792" y="298132"/>
            <a:ext cx="1162621" cy="567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6721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032" y="0"/>
            <a:ext cx="8519748" cy="96192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О «Чепецкий механический завод»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52832" y="5959984"/>
            <a:ext cx="419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948738" y="6448435"/>
            <a:ext cx="679450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F96B1FF1-CCDF-4618-AA96-E8A119FBE8B6}" type="slidenum">
              <a:rPr lang="ru-RU" b="1" smtClean="0">
                <a:solidFill>
                  <a:srgbClr val="003274"/>
                </a:solidFill>
              </a:rPr>
              <a:pPr algn="ctr">
                <a:defRPr/>
              </a:pPr>
              <a:t>2</a:t>
            </a:fld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926080" y="949482"/>
            <a:ext cx="6644640" cy="601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750" dirty="0">
                <a:solidFill>
                  <a:srgbClr val="002060"/>
                </a:solidFill>
                <a:latin typeface="Arial"/>
              </a:rPr>
              <a:t>г</a:t>
            </a:r>
            <a:r>
              <a:rPr lang="ru-RU" sz="1750" dirty="0" smtClean="0">
                <a:solidFill>
                  <a:srgbClr val="002060"/>
                </a:solidFill>
                <a:latin typeface="Arial"/>
              </a:rPr>
              <a:t>ор. Глазов </a:t>
            </a:r>
            <a:r>
              <a:rPr lang="ru-RU" sz="1750" dirty="0">
                <a:solidFill>
                  <a:srgbClr val="002060"/>
                </a:solidFill>
                <a:latin typeface="Arial"/>
              </a:rPr>
              <a:t>— северная столица </a:t>
            </a:r>
            <a:r>
              <a:rPr lang="ru-RU" sz="1750" dirty="0" smtClean="0">
                <a:solidFill>
                  <a:srgbClr val="002060"/>
                </a:solidFill>
                <a:latin typeface="Arial"/>
              </a:rPr>
              <a:t>Удмуртской Республики. </a:t>
            </a:r>
          </a:p>
          <a:p>
            <a:pPr lvl="0" algn="just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750" dirty="0" smtClean="0">
                <a:solidFill>
                  <a:srgbClr val="002060"/>
                </a:solidFill>
                <a:latin typeface="Arial"/>
              </a:rPr>
              <a:t>Он </a:t>
            </a:r>
            <a:r>
              <a:rPr lang="ru-RU" sz="1750" dirty="0">
                <a:solidFill>
                  <a:srgbClr val="002060"/>
                </a:solidFill>
                <a:latin typeface="Arial"/>
              </a:rPr>
              <a:t>расположен на левом берегу </a:t>
            </a:r>
            <a:r>
              <a:rPr lang="ru-RU" sz="1750" dirty="0" err="1">
                <a:solidFill>
                  <a:srgbClr val="002060"/>
                </a:solidFill>
                <a:latin typeface="Arial"/>
              </a:rPr>
              <a:t>р.Чепцы</a:t>
            </a:r>
            <a:r>
              <a:rPr lang="ru-RU" sz="1750" dirty="0">
                <a:solidFill>
                  <a:srgbClr val="002060"/>
                </a:solidFill>
                <a:latin typeface="Arial"/>
              </a:rPr>
              <a:t> в 1106 км от Москвы и в 180 км от Ижевска и считается неофициальной северной столицей </a:t>
            </a:r>
            <a:r>
              <a:rPr lang="ru-RU" sz="1750" dirty="0" smtClean="0">
                <a:solidFill>
                  <a:srgbClr val="002060"/>
                </a:solidFill>
                <a:latin typeface="Arial"/>
              </a:rPr>
              <a:t>Республики</a:t>
            </a:r>
            <a:r>
              <a:rPr lang="ru-RU" sz="1750" dirty="0">
                <a:solidFill>
                  <a:srgbClr val="002060"/>
                </a:solidFill>
                <a:latin typeface="Arial"/>
              </a:rPr>
              <a:t>. </a:t>
            </a:r>
            <a:endParaRPr lang="ru-RU" sz="1750" dirty="0" smtClean="0">
              <a:solidFill>
                <a:srgbClr val="002060"/>
              </a:solidFill>
              <a:latin typeface="Arial"/>
            </a:endParaRPr>
          </a:p>
          <a:p>
            <a:pPr lvl="0" algn="just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750" dirty="0" smtClean="0">
                <a:solidFill>
                  <a:srgbClr val="002060"/>
                </a:solidFill>
                <a:latin typeface="Arial"/>
              </a:rPr>
              <a:t>Город </a:t>
            </a:r>
            <a:r>
              <a:rPr lang="ru-RU" sz="1750" dirty="0">
                <a:solidFill>
                  <a:srgbClr val="002060"/>
                </a:solidFill>
                <a:latin typeface="Arial"/>
              </a:rPr>
              <a:t>известен на всю Удмуртию как самый «зеленый». Здесь действительно очень много деревьев, за счет этого он прекрасно смотрится в любое время года. История города насчитывает более 300 лет(впервые Глазов упоминается  на страницах подворной переписи в 1678 году). </a:t>
            </a:r>
          </a:p>
          <a:p>
            <a:pPr lvl="0" algn="just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750" dirty="0">
                <a:solidFill>
                  <a:srgbClr val="002060"/>
                </a:solidFill>
                <a:latin typeface="Arial"/>
                <a:cs typeface="Arial" charset="0"/>
              </a:rPr>
              <a:t>Глазов обладает удобной транспортной инфраструктурой, в том числе удобное железнодорожное сообщение – расположен на современном маршруте Транссибирской  железнодорожной  </a:t>
            </a:r>
            <a:r>
              <a:rPr lang="ru-RU" sz="1750" dirty="0" smtClean="0">
                <a:solidFill>
                  <a:srgbClr val="002060"/>
                </a:solidFill>
                <a:latin typeface="Arial"/>
                <a:cs typeface="Arial" charset="0"/>
              </a:rPr>
              <a:t>магистрали (транспортная доступность со всеми крупными городами РФ), </a:t>
            </a:r>
            <a:r>
              <a:rPr lang="ru-RU" sz="1750" dirty="0">
                <a:solidFill>
                  <a:srgbClr val="002060"/>
                </a:solidFill>
                <a:latin typeface="Arial"/>
                <a:cs typeface="Arial" charset="0"/>
              </a:rPr>
              <a:t>имеет удобное автомобильное сообщение с Ижевском, Пермью и Кировом. </a:t>
            </a:r>
          </a:p>
          <a:p>
            <a:pPr lvl="0" algn="just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750" dirty="0">
                <a:solidFill>
                  <a:srgbClr val="002060"/>
                </a:solidFill>
                <a:latin typeface="Arial"/>
                <a:cs typeface="Arial" charset="0"/>
              </a:rPr>
              <a:t>Глазов обладает многоотраслевой экономикой, это город атомной промышленности. Основным градообразующим предприятием является АО «Чепецкий механический завод»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900" dirty="0">
              <a:latin typeface="Cambria" panose="020405030504060302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pic>
        <p:nvPicPr>
          <p:cNvPr id="8" name="Рисунок 7" descr="лого рус гориз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845" y="249364"/>
            <a:ext cx="904875" cy="409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6" descr="Вид на новый район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34" y="1046470"/>
            <a:ext cx="2493955" cy="1562618"/>
          </a:xfrm>
          <a:prstGeom prst="rect">
            <a:avLst/>
          </a:prstGeom>
          <a:noFill/>
          <a:effectLst>
            <a:outerShdw blurRad="596900" dist="50800" dir="5400000" algn="ctr" rotWithShape="0">
              <a:srgbClr val="414042">
                <a:lumMod val="60000"/>
                <a:lumOff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Вокзал Глазов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35" y="2720403"/>
            <a:ext cx="2493955" cy="1647050"/>
          </a:xfrm>
          <a:prstGeom prst="rect">
            <a:avLst/>
          </a:prstGeom>
          <a:noFill/>
          <a:effectLst>
            <a:outerShdw blurRad="863600" dist="50800" dir="5400000" algn="ctr" rotWithShape="0">
              <a:srgbClr val="414042">
                <a:lumMod val="60000"/>
                <a:lumOff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В Глазове стартует проект &amp;quot;Школа: Молодежь и цифровизация&amp;quot; 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35" y="4491087"/>
            <a:ext cx="2493955" cy="1869007"/>
          </a:xfrm>
          <a:prstGeom prst="rect">
            <a:avLst/>
          </a:prstGeom>
          <a:noFill/>
          <a:effectLst>
            <a:outerShdw blurRad="355600" dist="50800" dir="5400000" algn="ctr" rotWithShape="0">
              <a:srgbClr val="414042">
                <a:lumMod val="60000"/>
                <a:lumOff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489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032" y="0"/>
            <a:ext cx="8519748" cy="96192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О «Чепецкий механический завод»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52832" y="5959984"/>
            <a:ext cx="419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948738" y="6448435"/>
            <a:ext cx="679450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F96B1FF1-CCDF-4618-AA96-E8A119FBE8B6}" type="slidenum">
              <a:rPr lang="ru-RU" b="1" smtClean="0">
                <a:solidFill>
                  <a:srgbClr val="003274"/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33172" y="949482"/>
            <a:ext cx="9337548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АО «Чепецкий механический завод» (АО ЧМЗ) </a:t>
            </a:r>
            <a:r>
              <a:rPr lang="ru-RU" dirty="0" err="1" smtClean="0">
                <a:solidFill>
                  <a:srgbClr val="002060"/>
                </a:solidFill>
                <a:latin typeface="Cambria" pitchFamily="18" charset="0"/>
              </a:rPr>
              <a:t>Госкорпорации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 «</a:t>
            </a:r>
            <a:r>
              <a:rPr lang="ru-RU" dirty="0" err="1" smtClean="0">
                <a:solidFill>
                  <a:srgbClr val="002060"/>
                </a:solidFill>
                <a:latin typeface="Cambria" pitchFamily="18" charset="0"/>
              </a:rPr>
              <a:t>Росатом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»</a:t>
            </a:r>
            <a:r>
              <a:rPr lang="en-US" dirty="0" smtClean="0">
                <a:solidFill>
                  <a:srgbClr val="002060"/>
                </a:solidFill>
                <a:latin typeface="Cambria" pitchFamily="18" charset="0"/>
              </a:rPr>
              <a:t>,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входит в состав Топливной компании «ТВЭЛ» - один из ключевых производителей в технологической цепочке изготовления топлива, конструкционных материалов и изделий для атомной энергетики.</a:t>
            </a:r>
          </a:p>
          <a:p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 </a:t>
            </a:r>
            <a:r>
              <a:rPr lang="ru-RU" b="1" dirty="0" smtClean="0">
                <a:solidFill>
                  <a:srgbClr val="002060"/>
                </a:solidFill>
                <a:latin typeface="Cambria" pitchFamily="18" charset="0"/>
              </a:rPr>
              <a:t>АО ЧМЗ: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rgbClr val="002060"/>
                </a:solidFill>
                <a:latin typeface="Cambria" pitchFamily="18" charset="0"/>
              </a:rPr>
              <a:t>      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Крупнейший в мире и единственный в России производитель изделий из</a:t>
            </a:r>
            <a:endParaRPr lang="en-US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циркония и его сплавов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Занимает ведущие позиции в производстве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металлического кальция и сплавов</a:t>
            </a:r>
            <a:r>
              <a:rPr lang="en-US" dirty="0" smtClean="0">
                <a:solidFill>
                  <a:srgbClr val="002060"/>
                </a:solidFill>
                <a:latin typeface="Cambria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на его основе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      Выпускает высокочистый металлический ниобий, </a:t>
            </a:r>
            <a:endParaRPr lang="ru-RU" dirty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диоксид циркония</a:t>
            </a:r>
            <a:r>
              <a:rPr lang="en-US" dirty="0" smtClean="0">
                <a:solidFill>
                  <a:srgbClr val="002060"/>
                </a:solidFill>
                <a:latin typeface="Cambria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и техническую керамику на его</a:t>
            </a:r>
            <a:endParaRPr lang="en-US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основе, оксиды и карбонаты редкоземельных </a:t>
            </a:r>
            <a:endParaRPr lang="en-US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металлов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rgbClr val="002060"/>
                </a:solidFill>
                <a:latin typeface="Cambria" pitchFamily="18" charset="0"/>
              </a:rPr>
              <a:t>     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Производит электролитический гафний и</a:t>
            </a:r>
            <a:endParaRPr lang="ru-RU" dirty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низкотемпературные сверхпроводниковые </a:t>
            </a:r>
            <a:endParaRPr lang="en-US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м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атериалы и 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труб из циркония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      АО 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ЧМЗ занимает ведущие позиции в производстве </a:t>
            </a:r>
            <a:endParaRPr lang="ru-RU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ниобия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, титана и сплавов на его основе.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      На предприятии разрабатываются 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перспективные </a:t>
            </a:r>
            <a:endParaRPr lang="ru-RU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тематики 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по 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аддитивным </a:t>
            </a: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технологиям для проектирования и производства деталей в машиностроении.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ru-RU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dirty="0" smtClean="0">
              <a:solidFill>
                <a:srgbClr val="002060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dirty="0" smtClean="0">
              <a:latin typeface="Cambria" pitchFamily="18" charset="0"/>
            </a:endParaRPr>
          </a:p>
          <a:p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pic>
        <p:nvPicPr>
          <p:cNvPr id="27" name="Рисунок 26" descr="https://www.korabel.ru/filemanager/IMAGES/0/75/75874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57988" y="2502051"/>
            <a:ext cx="3312732" cy="294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95300" dist="50800" dir="5400000" algn="ctr" rotWithShape="0">
              <a:schemeClr val="tx1">
                <a:lumMod val="75000"/>
              </a:schemeClr>
            </a:outerShdw>
          </a:effectLst>
        </p:spPr>
      </p:pic>
      <p:pic>
        <p:nvPicPr>
          <p:cNvPr id="8" name="Рисунок 7" descr="лого рус гориз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845" y="249364"/>
            <a:ext cx="904875" cy="409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872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032" y="0"/>
            <a:ext cx="8519748" cy="96192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О «Чепецкий механический завод»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52832" y="5959984"/>
            <a:ext cx="419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948738" y="6448435"/>
            <a:ext cx="679450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F96B1FF1-CCDF-4618-AA96-E8A119FBE8B6}" type="slidenum">
              <a:rPr lang="ru-RU" b="1" smtClean="0">
                <a:solidFill>
                  <a:srgbClr val="003274"/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901696" y="949482"/>
            <a:ext cx="6669024" cy="64017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Свою историю завод ведет с 1946 года, когда вышло постановление о создании в городе на базе патронного завода № 544 предприятия по производству металлического урана и других важнейших стратегических материалов – Чепецкого механического завода. Приказ о передаче патронного завода на баланс Первого Главного Управления при СМ СССР подписан 19.12.1946. 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Cambria" pitchFamily="18" charset="0"/>
              </a:rPr>
              <a:t>Эту дату принято считать днем рождения завода</a:t>
            </a:r>
            <a:r>
              <a:rPr lang="ru-RU" dirty="0" smtClean="0">
                <a:solidFill>
                  <a:srgbClr val="002060"/>
                </a:solidFill>
                <a:latin typeface="Cambria" pitchFamily="18" charset="0"/>
              </a:rPr>
              <a:t>.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900" dirty="0" smtClean="0">
              <a:solidFill>
                <a:srgbClr val="002060"/>
              </a:solidFill>
              <a:latin typeface="Cambria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latin typeface="Cambria" pitchFamily="18" charset="0"/>
              </a:rPr>
              <a:t>На </a:t>
            </a:r>
            <a:r>
              <a:rPr lang="ru-RU" dirty="0">
                <a:latin typeface="Cambria" pitchFamily="18" charset="0"/>
              </a:rPr>
              <a:t>АО «Чепецкий механический завод» работает более </a:t>
            </a:r>
            <a:r>
              <a:rPr lang="ru-RU" dirty="0" smtClean="0">
                <a:latin typeface="Cambria" pitchFamily="18" charset="0"/>
              </a:rPr>
              <a:t>3</a:t>
            </a:r>
            <a:r>
              <a:rPr lang="en-US" dirty="0" smtClean="0">
                <a:latin typeface="Cambria" pitchFamily="18" charset="0"/>
              </a:rPr>
              <a:t>45</a:t>
            </a:r>
            <a:r>
              <a:rPr lang="ru-RU" dirty="0" smtClean="0">
                <a:latin typeface="Cambria" pitchFamily="18" charset="0"/>
              </a:rPr>
              <a:t>0 </a:t>
            </a:r>
            <a:r>
              <a:rPr lang="ru-RU" dirty="0">
                <a:latin typeface="Cambria" pitchFamily="18" charset="0"/>
              </a:rPr>
              <a:t>человек.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latin typeface="Cambria" pitchFamily="18" charset="0"/>
              </a:rPr>
              <a:t>Из них более 100 человек заняты научно-технической деятельностью. 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latin typeface="Cambria" pitchFamily="18" charset="0"/>
              </a:rPr>
              <a:t>Более 800 работников в возрасте до 35 лет.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900" dirty="0" smtClean="0"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900" dirty="0" smtClean="0">
              <a:latin typeface="Cambria" pitchFamily="18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Clr>
                <a:srgbClr val="4596D1">
                  <a:lumMod val="75000"/>
                </a:srgbClr>
              </a:buClr>
              <a:buFont typeface="Wingdings" panose="05000000000000000000" pitchFamily="2" charset="2"/>
              <a:buChar char="q"/>
            </a:pPr>
            <a:r>
              <a:rPr lang="ru-RU" sz="1800" b="1" dirty="0">
                <a:solidFill>
                  <a:srgbClr val="003274"/>
                </a:solidFill>
                <a:latin typeface="Cambria" pitchFamily="18" charset="0"/>
              </a:rPr>
              <a:t>Мы приглашаем выпускников </a:t>
            </a:r>
            <a:r>
              <a:rPr lang="ru-RU" sz="1800" b="1" dirty="0" smtClean="0">
                <a:solidFill>
                  <a:srgbClr val="003274"/>
                </a:solidFill>
                <a:latin typeface="Cambria" pitchFamily="18" charset="0"/>
              </a:rPr>
              <a:t>ВУЗов</a:t>
            </a:r>
            <a:r>
              <a:rPr lang="en-US" sz="1800" b="1" dirty="0" smtClean="0">
                <a:solidFill>
                  <a:srgbClr val="003274"/>
                </a:solidFill>
                <a:latin typeface="Cambria" pitchFamily="18" charset="0"/>
              </a:rPr>
              <a:t> </a:t>
            </a:r>
            <a:r>
              <a:rPr lang="ru-RU" sz="1800" b="1" dirty="0" smtClean="0">
                <a:solidFill>
                  <a:srgbClr val="003274"/>
                </a:solidFill>
                <a:latin typeface="Cambria" pitchFamily="18" charset="0"/>
              </a:rPr>
              <a:t>:</a:t>
            </a:r>
            <a:endParaRPr lang="ru-RU" sz="1800" b="1" dirty="0">
              <a:solidFill>
                <a:srgbClr val="003274"/>
              </a:solidFill>
              <a:latin typeface="Cambria" pitchFamily="18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3274"/>
                </a:solidFill>
                <a:latin typeface="Cambria" pitchFamily="18" charset="0"/>
              </a:rPr>
              <a:t>Материаловедение и технологии материалов</a:t>
            </a: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Металлургия</a:t>
            </a:r>
            <a:r>
              <a:rPr lang="en-US" sz="1800" dirty="0" smtClean="0">
                <a:solidFill>
                  <a:srgbClr val="003274"/>
                </a:solidFill>
                <a:latin typeface="Cambria" pitchFamily="18" charset="0"/>
              </a:rPr>
              <a:t> (</a:t>
            </a: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по отраслям)</a:t>
            </a:r>
            <a:endParaRPr lang="ru-RU" sz="1800" dirty="0">
              <a:solidFill>
                <a:srgbClr val="003274"/>
              </a:solidFill>
              <a:latin typeface="Cambria" pitchFamily="18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3274"/>
                </a:solidFill>
                <a:latin typeface="Cambria" pitchFamily="18" charset="0"/>
              </a:rPr>
              <a:t>Химическая технология материалов современной </a:t>
            </a:r>
          </a:p>
          <a:p>
            <a:pPr lvl="0" algn="just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3274"/>
                </a:solidFill>
                <a:latin typeface="Cambria" pitchFamily="18" charset="0"/>
              </a:rPr>
              <a:t>энергетики</a:t>
            </a: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003274"/>
                </a:solidFill>
                <a:latin typeface="Cambria" pitchFamily="18" charset="0"/>
              </a:rPr>
              <a:t>Металлообрабатывающие станки и комплексы</a:t>
            </a: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Машины </a:t>
            </a:r>
            <a:r>
              <a:rPr lang="ru-RU" sz="1800" dirty="0">
                <a:solidFill>
                  <a:srgbClr val="003274"/>
                </a:solidFill>
                <a:latin typeface="Cambria" pitchFamily="18" charset="0"/>
              </a:rPr>
              <a:t>и технология обработки металлов </a:t>
            </a: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давлением</a:t>
            </a:r>
            <a:endParaRPr lang="en-US" sz="1800" dirty="0" smtClean="0">
              <a:solidFill>
                <a:srgbClr val="003274"/>
              </a:solidFill>
              <a:latin typeface="Cambria" pitchFamily="18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Метрология и стандартизация</a:t>
            </a:r>
          </a:p>
          <a:p>
            <a:pPr marL="285750" lvl="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3274"/>
                </a:solidFill>
                <a:latin typeface="Cambria" pitchFamily="18" charset="0"/>
              </a:rPr>
              <a:t>Приборы и методы контроля и качества и диагностики</a:t>
            </a:r>
            <a:endParaRPr lang="ru-RU" sz="1800" dirty="0">
              <a:solidFill>
                <a:srgbClr val="003274"/>
              </a:solidFill>
              <a:latin typeface="Cambria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900" dirty="0">
              <a:latin typeface="Cambria" panose="020405030504060302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pic>
        <p:nvPicPr>
          <p:cNvPr id="8" name="Рисунок 7" descr="лого рус гориз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5845" y="249364"/>
            <a:ext cx="904875" cy="409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6" descr="Чепецкий механический завод в Глазове первым в России начал производить губ..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2" y="1094461"/>
            <a:ext cx="2546256" cy="1697505"/>
          </a:xfrm>
          <a:prstGeom prst="rect">
            <a:avLst/>
          </a:prstGeom>
          <a:noFill/>
          <a:effectLst>
            <a:outerShdw blurRad="355600" dist="50800" dir="5400000" algn="ctr" rotWithShape="0">
              <a:srgbClr val="414042">
                <a:lumMod val="7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Чепецкий механический завод отправил первую партию титана в Европу&amp;quot; Эк..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31" y="2926705"/>
            <a:ext cx="2546256" cy="1697505"/>
          </a:xfrm>
          <a:prstGeom prst="rect">
            <a:avLst/>
          </a:prstGeom>
          <a:noFill/>
          <a:effectLst>
            <a:outerShdw blurRad="203200" dist="50800" dir="5400000" algn="ctr" rotWithShape="0">
              <a:srgbClr val="414042">
                <a:lumMod val="7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Просмотров: 4166. 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31" y="4808356"/>
            <a:ext cx="2526387" cy="1804562"/>
          </a:xfrm>
          <a:prstGeom prst="rect">
            <a:avLst/>
          </a:prstGeom>
          <a:noFill/>
          <a:effectLst>
            <a:outerShdw blurRad="152400" dist="50800" dir="5400000" algn="ctr" rotWithShape="0">
              <a:srgbClr val="414042">
                <a:lumMod val="7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789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032" y="0"/>
            <a:ext cx="8519748" cy="96192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бро пожаловать в АО «Чепецкий механический завод»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52832" y="5959984"/>
            <a:ext cx="419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948738" y="6448435"/>
            <a:ext cx="679450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F96B1FF1-CCDF-4618-AA96-E8A119FBE8B6}" type="slidenum">
              <a:rPr lang="ru-RU" b="1" smtClean="0">
                <a:solidFill>
                  <a:srgbClr val="003274"/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33172" y="949482"/>
            <a:ext cx="93375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89376" y="909888"/>
            <a:ext cx="6238812" cy="2074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МЫ ПРЕДЛАГАЕМ: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 Оформление по Трудовому кодексу РФ</a:t>
            </a:r>
            <a:endParaRPr lang="ru-RU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Добровольное медицинское страхование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и </a:t>
            </a: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санаторно-курортное лечение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для работников предприятия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Негосударственное пенсионное обеспечение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Оказание материальной помощи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омощь в улучшении жилищных условий</a:t>
            </a:r>
            <a:endParaRPr lang="ru-RU" b="1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7536" y="3121152"/>
            <a:ext cx="9473184" cy="3861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остоянное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овышение профессионального уровня,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адаптация и включение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 программу наставничества,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обучение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и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развитие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молодых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работников</a:t>
            </a:r>
            <a:endParaRPr lang="ru-RU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озможность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творить будущее своим трудом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Достойный </a:t>
            </a:r>
            <a:r>
              <a:rPr lang="ru-RU" b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стартовый уровень оплаты </a:t>
            </a: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труда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(от 45</a:t>
            </a:r>
            <a:r>
              <a:rPr lang="en-US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-50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тыс. руб. и выше), ежегодная индексация заработной платы 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озможность ежегодного повышения уровня з/п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озможность участия в культурно-массовых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и спортивных мероприятиях,</a:t>
            </a:r>
          </a:p>
          <a:p>
            <a:pPr marL="354013"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м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ероприятиях движения </a:t>
            </a:r>
            <a:r>
              <a:rPr lang="en-US" dirty="0" err="1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AtomSkills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озможность включения в Совет молодежи АО ЧМЗ                                             </a:t>
            </a:r>
          </a:p>
          <a:p>
            <a:pPr lvl="0" algn="ctr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                </a:t>
            </a: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                                            </a:t>
            </a:r>
          </a:p>
          <a:p>
            <a:pPr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Фактический </a:t>
            </a:r>
            <a:r>
              <a:rPr lang="ru-RU" sz="1400" i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размер заработной платы может быть </a:t>
            </a: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увеличен </a:t>
            </a:r>
            <a:r>
              <a:rPr lang="ru-RU" sz="1400" i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за счет доплат за </a:t>
            </a:r>
            <a:endParaRPr lang="ru-RU" sz="1400" i="1" dirty="0" smtClean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работу </a:t>
            </a:r>
            <a:r>
              <a:rPr lang="ru-RU" sz="1400" i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с вредными условиями труда, </a:t>
            </a: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ежеквартального оперативного премирования, </a:t>
            </a:r>
          </a:p>
          <a:p>
            <a:pPr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за </a:t>
            </a:r>
            <a:r>
              <a:rPr lang="ru-RU" sz="1400" i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работу в ночное время, оплаты времени </a:t>
            </a:r>
            <a:r>
              <a:rPr lang="ru-RU" sz="1400" i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риема-передачи смены</a:t>
            </a:r>
            <a:endParaRPr lang="ru-RU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"/>
            </a:pPr>
            <a:endParaRPr lang="ru-RU" sz="1100" dirty="0">
              <a:solidFill>
                <a:srgbClr val="002060"/>
              </a:solidFill>
              <a:latin typeface="Calibri" pitchFamily="34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72" y="1072896"/>
            <a:ext cx="3133344" cy="2085084"/>
          </a:xfrm>
          <a:prstGeom prst="rect">
            <a:avLst/>
          </a:prstGeom>
          <a:noFill/>
          <a:ln>
            <a:noFill/>
          </a:ln>
          <a:effectLst>
            <a:outerShdw blurRad="292100" dist="35921" dir="2700000" sx="96000" sy="96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8744" y="4699814"/>
            <a:ext cx="2189135" cy="1460225"/>
          </a:xfrm>
          <a:prstGeom prst="rect">
            <a:avLst/>
          </a:prstGeom>
          <a:noFill/>
          <a:ln>
            <a:noFill/>
          </a:ln>
          <a:effectLst>
            <a:outerShdw blurRad="3048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 descr="лого рус гориз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313" y="298132"/>
            <a:ext cx="904875" cy="409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655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032" y="0"/>
            <a:ext cx="8519748" cy="96192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бро пожаловать в АО «Чепецкий механический завод»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852832" y="5959984"/>
            <a:ext cx="41966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000" dirty="0"/>
          </a:p>
        </p:txBody>
      </p:sp>
      <p:sp>
        <p:nvSpPr>
          <p:cNvPr id="14" name="Номер слайда 3"/>
          <p:cNvSpPr txBox="1">
            <a:spLocks/>
          </p:cNvSpPr>
          <p:nvPr/>
        </p:nvSpPr>
        <p:spPr>
          <a:xfrm>
            <a:off x="8948738" y="6448435"/>
            <a:ext cx="679450" cy="3778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F96B1FF1-CCDF-4618-AA96-E8A119FBE8B6}" type="slidenum">
              <a:rPr lang="ru-RU" b="1" smtClean="0">
                <a:solidFill>
                  <a:srgbClr val="003274"/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rgbClr val="0032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33172" y="949482"/>
            <a:ext cx="93375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 smtClean="0"/>
              <a:t/>
            </a:r>
            <a:br>
              <a:rPr lang="ru-RU" sz="1800" dirty="0" smtClean="0"/>
            </a:br>
            <a:endParaRPr lang="ru-RU" sz="1800" dirty="0">
              <a:solidFill>
                <a:srgbClr val="003376"/>
              </a:solidFill>
              <a:latin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18688" y="909888"/>
            <a:ext cx="6409500" cy="3773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b="1" u="sng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МЫ ПРЕДЛАГАЕМ: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ри трудоустройстве АО ЧМЗ выплачивает молодым специалистам материальную помощь в размере </a:t>
            </a:r>
            <a:r>
              <a:rPr lang="ru-RU" b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5</a:t>
            </a: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0 тыс. руб.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редоставление общежития 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за счет средств предприятия</a:t>
            </a:r>
            <a:endParaRPr lang="ru-RU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Компенсация расходов на аренду жилья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(в течение 3-х лет)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Молодые специалисты имеют право на получение:</a:t>
            </a:r>
          </a:p>
          <a:p>
            <a:pPr marL="285750" lvl="0" indent="-28575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ыплаты </a:t>
            </a: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части стоимости жилья в рассрочку;</a:t>
            </a:r>
          </a:p>
          <a:p>
            <a:pPr marL="285750" lvl="0" indent="-28575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получение компенсации части расходов на погашение процентной ставки по ипотечному кредиту;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Возможность участия в научно-технических конференциях, Акселераторах и </a:t>
            </a:r>
            <a:r>
              <a:rPr lang="ru-RU" dirty="0" err="1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Хакатонах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, проводимых в ГК </a:t>
            </a:r>
            <a:r>
              <a:rPr lang="ru-RU" dirty="0" err="1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Росатом</a:t>
            </a:r>
            <a:r>
              <a:rPr lang="ru-RU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 </a:t>
            </a:r>
          </a:p>
          <a:p>
            <a:pPr marL="354013" lvl="0" indent="-354013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ru-RU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  <a:p>
            <a:pPr lvl="0" algn="just" eaLnBrk="0" hangingPunct="0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002060"/>
                </a:solidFill>
                <a:latin typeface="Cambria" panose="02040503050406030204" pitchFamily="18" charset="0"/>
                <a:cs typeface="Times New Roman" pitchFamily="18" charset="0"/>
              </a:rPr>
              <a:t>АО «ЧЕПЕЦКИЙ МЕХАНИЧЕСКИЙ ЗАВОД» В СЕТИ ИНТЕРНЕТ:</a:t>
            </a:r>
            <a:endParaRPr lang="ru-RU" b="1" dirty="0">
              <a:solidFill>
                <a:srgbClr val="002060"/>
              </a:solidFill>
              <a:latin typeface="Cambria" panose="02040503050406030204" pitchFamily="18" charset="0"/>
              <a:cs typeface="Times New Roman" pitchFamily="18" charset="0"/>
            </a:endParaRPr>
          </a:p>
        </p:txBody>
      </p:sp>
      <p:pic>
        <p:nvPicPr>
          <p:cNvPr id="11" name="Рисунок 10" descr="лого рус гориз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313" y="298132"/>
            <a:ext cx="904875" cy="409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4725" y="1039241"/>
            <a:ext cx="2485644" cy="3231479"/>
          </a:xfrm>
          <a:prstGeom prst="rect">
            <a:avLst/>
          </a:prstGeom>
          <a:noFill/>
          <a:ln>
            <a:noFill/>
          </a:ln>
          <a:effectLst>
            <a:outerShdw blurRad="304800" dist="35921" dir="2700000" algn="ctr" rotWithShape="0">
              <a:schemeClr val="tx1">
                <a:lumMod val="7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980920" y="5210007"/>
            <a:ext cx="26516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vk.com/chmz.glazov</a:t>
            </a:r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488" y="4533751"/>
            <a:ext cx="1812508" cy="18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186861" y="5189652"/>
            <a:ext cx="15070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www.chmz.net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725" y="4533750"/>
            <a:ext cx="1691068" cy="1691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641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825" y="463550"/>
            <a:ext cx="8912225" cy="520700"/>
          </a:xfr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120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/>
            </a:r>
            <a:br>
              <a:rPr lang="ru-RU" sz="2400" b="1" kern="120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ru-RU" sz="2400" b="1" kern="1200" dirty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/>
            </a:r>
            <a:br>
              <a:rPr lang="ru-RU" sz="2400" b="1" kern="1200" dirty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r>
              <a:rPr lang="ru-RU" sz="2400" b="1" kern="120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  <a:t>Контакты АО «Чепецкий механический завод»</a:t>
            </a:r>
            <a:br>
              <a:rPr lang="ru-RU" sz="2400" b="1" kern="1200" dirty="0" smtClean="0">
                <a:solidFill>
                  <a:srgbClr val="002060"/>
                </a:solidFill>
                <a:latin typeface="Calibri"/>
                <a:ea typeface="+mn-ea"/>
                <a:cs typeface="+mn-cs"/>
              </a:rPr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498848" y="1141413"/>
            <a:ext cx="4905502" cy="4954587"/>
          </a:xfrm>
        </p:spPr>
        <p:txBody>
          <a:bodyPr/>
          <a:lstStyle/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000" b="1" kern="12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РОССИЯ, 427620, 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000" b="1" kern="12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УДМУРТСКАЯ РЕСПУБЛИКА,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000" b="1" kern="12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Г. ГЛАЗОВ, УЛ. БЕЛОВА, Д.7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ru-RU" sz="2000" b="1" kern="1200" dirty="0" smtClean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000" b="1" kern="12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тел.: (34141 )6-02-64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000" b="1" kern="12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8-982-122-81-89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ru-RU" sz="2000" b="1" kern="1200" dirty="0" smtClean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0" indent="0">
              <a:buFontTx/>
              <a:buNone/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E-mail</a:t>
            </a:r>
            <a:r>
              <a:rPr lang="ru-RU" sz="20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: </a:t>
            </a:r>
            <a:r>
              <a:rPr lang="en-US" sz="20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latin typeface="Cambria" panose="02040503050406030204" pitchFamily="18" charset="0"/>
                <a:hlinkClick r:id="rId2"/>
              </a:rPr>
              <a:t>cmzh@rosatom.ru</a:t>
            </a:r>
            <a:endParaRPr lang="ru-RU" sz="2000" b="1" dirty="0" smtClean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0" indent="0">
              <a:buFontTx/>
              <a:buNone/>
              <a:defRPr/>
            </a:pPr>
            <a:r>
              <a:rPr lang="en-US" sz="2000" b="1" dirty="0" smtClean="0">
                <a:solidFill>
                  <a:srgbClr val="002060"/>
                </a:solidFill>
                <a:latin typeface="Cambria" panose="02040503050406030204" pitchFamily="18" charset="0"/>
                <a:hlinkClick r:id="rId3"/>
              </a:rPr>
              <a:t>YuVGolubchikova@Greenatom.ru</a:t>
            </a:r>
            <a:r>
              <a:rPr lang="ru-RU" sz="20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 </a:t>
            </a:r>
            <a:endParaRPr lang="en-US" sz="2000" b="1" dirty="0" smtClean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0" indent="0" algn="r">
              <a:buFontTx/>
              <a:buNone/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Calibri" pitchFamily="34" charset="0"/>
              </a:rPr>
              <a:t> </a:t>
            </a:r>
            <a:endParaRPr lang="ru-RU" sz="2400" b="1" dirty="0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6" name="Изображение 1" descr="2 Concept 4.jp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88" t="14546" r="6696" b="14546"/>
          <a:stretch/>
        </p:blipFill>
        <p:spPr>
          <a:xfrm>
            <a:off x="344396" y="1785993"/>
            <a:ext cx="3772274" cy="3688215"/>
          </a:xfrm>
          <a:prstGeom prst="ellipse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  <p:sp>
        <p:nvSpPr>
          <p:cNvPr id="19462" name="Текст 6"/>
          <p:cNvSpPr>
            <a:spLocks noGrp="1"/>
          </p:cNvSpPr>
          <p:nvPr>
            <p:ph type="body" sz="half" idx="1"/>
          </p:nvPr>
        </p:nvSpPr>
        <p:spPr>
          <a:xfrm>
            <a:off x="530225" y="1293813"/>
            <a:ext cx="3705225" cy="369887"/>
          </a:xfrm>
        </p:spPr>
        <p:txBody>
          <a:bodyPr wrap="none">
            <a:spAutoFit/>
          </a:bodyPr>
          <a:lstStyle/>
          <a:p>
            <a:pPr marL="0" indent="0" eaLnBrk="1" hangingPunct="1">
              <a:spcBef>
                <a:spcPct val="0"/>
              </a:spcBef>
              <a:buFontTx/>
              <a:buNone/>
            </a:pPr>
            <a:r>
              <a:rPr lang="ru-RU" sz="2400" b="1" dirty="0" smtClean="0">
                <a:solidFill>
                  <a:srgbClr val="297FD5"/>
                </a:solidFill>
              </a:rPr>
              <a:t> РОСАТОМ – ЭТО </a:t>
            </a:r>
            <a:r>
              <a:rPr lang="ru-RU" sz="2400" b="1" dirty="0" smtClean="0">
                <a:solidFill>
                  <a:srgbClr val="92D050"/>
                </a:solidFill>
              </a:rPr>
              <a:t>ЛЮДИ</a:t>
            </a:r>
          </a:p>
        </p:txBody>
      </p:sp>
      <p:pic>
        <p:nvPicPr>
          <p:cNvPr id="8" name="Рисунок 7" descr="лого рус гориз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7762" y="310324"/>
            <a:ext cx="904875" cy="409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555" y="4685760"/>
            <a:ext cx="1784413" cy="1784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3492" y="5199402"/>
            <a:ext cx="3934731" cy="7571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ru-RU" sz="1800" b="1" dirty="0" smtClean="0">
                <a:solidFill>
                  <a:srgbClr val="003376"/>
                </a:solidFill>
                <a:latin typeface="Cambria" panose="02040503050406030204" pitchFamily="18" charset="0"/>
                <a:ea typeface="Times New Roman"/>
              </a:rPr>
              <a:t>ОЗНАКОМИТЬСЯ С ВАКАНСИЯМИ:</a:t>
            </a:r>
            <a:endParaRPr lang="ru-RU" sz="1800" b="1" dirty="0" smtClean="0">
              <a:solidFill>
                <a:srgbClr val="003376"/>
              </a:solidFill>
              <a:latin typeface="Cambria" panose="02040503050406030204" pitchFamily="18" charset="0"/>
              <a:ea typeface="Times New Roman"/>
              <a:hlinkClick r:id="rId7"/>
            </a:endParaRPr>
          </a:p>
          <a:p>
            <a:pPr>
              <a:spcAft>
                <a:spcPts val="0"/>
              </a:spcAft>
            </a:pPr>
            <a:r>
              <a:rPr lang="ru-RU" sz="1800" u="sng" dirty="0" smtClean="0">
                <a:solidFill>
                  <a:srgbClr val="003376"/>
                </a:solidFill>
                <a:latin typeface="Cambria" panose="02040503050406030204" pitchFamily="18" charset="0"/>
                <a:ea typeface="Times New Roman"/>
                <a:hlinkClick r:id="rId7"/>
              </a:rPr>
              <a:t>https</a:t>
            </a:r>
            <a:r>
              <a:rPr lang="ru-RU" sz="1800" u="sng" dirty="0">
                <a:solidFill>
                  <a:srgbClr val="003376"/>
                </a:solidFill>
                <a:latin typeface="Cambria" panose="02040503050406030204" pitchFamily="18" charset="0"/>
                <a:ea typeface="Times New Roman"/>
                <a:hlinkClick r:id="rId7"/>
              </a:rPr>
              <a:t>://rosatom-career.ru/vacancies</a:t>
            </a:r>
            <a:endParaRPr lang="ru-RU" sz="1800" dirty="0">
              <a:solidFill>
                <a:srgbClr val="003376"/>
              </a:solidFill>
              <a:effectLst/>
              <a:latin typeface="Cambria" panose="02040503050406030204" pitchFamily="18" charset="0"/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772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1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DecimalSymbol17909&gt;.&lt;/m_chDecimalSymbol17909&gt;&lt;m_nGroupingDigits17909 val=&quot;2147483647&quot;/&gt;&lt;/m_precDefault&gt;&lt;/CDefaultPrec&gt;&lt;/root&gt;"/>
  <p:tag name="THINKCELLUNDODONOTDELETE" val="4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PMEe55kEWkgeHHoBQP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pl3mnjmkW8uLzdPFLf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GEkXLTHUyf6Bct7jXC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KJrkkfR0yrf0x_kOP.Hg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a-content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Оформление по умолчанию">
  <a:themeElements>
    <a:clrScheme name="Оформление по умолчанию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A4 HA Marbles">
  <a:themeElements>
    <a:clrScheme name="A4 HA Marbles 3">
      <a:dk1>
        <a:srgbClr val="000000"/>
      </a:dk1>
      <a:lt1>
        <a:srgbClr val="FFFFFF"/>
      </a:lt1>
      <a:dk2>
        <a:srgbClr val="5EB6E4"/>
      </a:dk2>
      <a:lt2>
        <a:srgbClr val="4D4F53"/>
      </a:lt2>
      <a:accent1>
        <a:srgbClr val="D3CD8B"/>
      </a:accent1>
      <a:accent2>
        <a:srgbClr val="7AB800"/>
      </a:accent2>
      <a:accent3>
        <a:srgbClr val="FFFFFF"/>
      </a:accent3>
      <a:accent4>
        <a:srgbClr val="000000"/>
      </a:accent4>
      <a:accent5>
        <a:srgbClr val="E6E3C4"/>
      </a:accent5>
      <a:accent6>
        <a:srgbClr val="6EA600"/>
      </a:accent6>
      <a:hlink>
        <a:srgbClr val="0039A6"/>
      </a:hlink>
      <a:folHlink>
        <a:srgbClr val="0083A9"/>
      </a:folHlink>
    </a:clrScheme>
    <a:fontScheme name="A4 HA Marbl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>
            <a:lumMod val="20000"/>
            <a:lumOff val="80000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900" b="1" i="0" u="none" strike="noStrike" cap="none" normalizeH="0" baseline="0" dirty="0" smtClean="0">
            <a:ln>
              <a:noFill/>
            </a:ln>
            <a:solidFill>
              <a:schemeClr val="bg2">
                <a:lumMod val="75000"/>
              </a:schemeClr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4 HA Marbles 1">
        <a:dk1>
          <a:srgbClr val="000000"/>
        </a:dk1>
        <a:lt1>
          <a:srgbClr val="FFFFFF"/>
        </a:lt1>
        <a:dk2>
          <a:srgbClr val="263C6B"/>
        </a:dk2>
        <a:lt2>
          <a:srgbClr val="ABAFB2"/>
        </a:lt2>
        <a:accent1>
          <a:srgbClr val="6280AF"/>
        </a:accent1>
        <a:accent2>
          <a:srgbClr val="BDD172"/>
        </a:accent2>
        <a:accent3>
          <a:srgbClr val="FFFFFF"/>
        </a:accent3>
        <a:accent4>
          <a:srgbClr val="000000"/>
        </a:accent4>
        <a:accent5>
          <a:srgbClr val="B7C0D4"/>
        </a:accent5>
        <a:accent6>
          <a:srgbClr val="ABBD67"/>
        </a:accent6>
        <a:hlink>
          <a:srgbClr val="C64120"/>
        </a:hlink>
        <a:folHlink>
          <a:srgbClr val="E989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HA Marbles 2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D3CD8B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6E3C4"/>
        </a:accent5>
        <a:accent6>
          <a:srgbClr val="6EA600"/>
        </a:accent6>
        <a:hlink>
          <a:srgbClr val="00338D"/>
        </a:hlink>
        <a:folHlink>
          <a:srgbClr val="0083A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HA Marbles 3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D3CD8B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6E3C4"/>
        </a:accent5>
        <a:accent6>
          <a:srgbClr val="6EA600"/>
        </a:accent6>
        <a:hlink>
          <a:srgbClr val="0039A6"/>
        </a:hlink>
        <a:folHlink>
          <a:srgbClr val="0083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Тема Office">
  <a:themeElements>
    <a:clrScheme name="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792</TotalTime>
  <Words>509</Words>
  <Application>Microsoft Office PowerPoint</Application>
  <PresentationFormat>Лист A4 (210x297 мм)</PresentationFormat>
  <Paragraphs>108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30" baseType="lpstr">
      <vt:lpstr>Arial</vt:lpstr>
      <vt:lpstr>Calibri</vt:lpstr>
      <vt:lpstr>Cambria</vt:lpstr>
      <vt:lpstr>Times New Roman</vt:lpstr>
      <vt:lpstr>Wingdings</vt:lpstr>
      <vt:lpstr>b-default</vt:lpstr>
      <vt:lpstr>1_b-default</vt:lpstr>
      <vt:lpstr>a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1_a-content</vt:lpstr>
      <vt:lpstr>Оформление по умолчанию</vt:lpstr>
      <vt:lpstr>11_b-default</vt:lpstr>
      <vt:lpstr>12_b-default</vt:lpstr>
      <vt:lpstr>A4 HA Marbles</vt:lpstr>
      <vt:lpstr>think-cell Slide</vt:lpstr>
      <vt:lpstr>Презентация PowerPoint</vt:lpstr>
      <vt:lpstr> АО «Чепецкий механический завод» </vt:lpstr>
      <vt:lpstr> АО «Чепецкий механический завод» </vt:lpstr>
      <vt:lpstr> АО «Чепецкий механический завод» </vt:lpstr>
      <vt:lpstr> Добро пожаловать в АО «Чепецкий механический завод» </vt:lpstr>
      <vt:lpstr> Добро пожаловать в АО «Чепецкий механический завод» </vt:lpstr>
      <vt:lpstr>  Контакты АО «Чепецкий механический завод» </vt:lpstr>
    </vt:vector>
  </TitlesOfParts>
  <Company>P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ы слайдов</dc:title>
  <dc:creator>НБ</dc:creator>
  <cp:lastModifiedBy>User</cp:lastModifiedBy>
  <cp:revision>5908</cp:revision>
  <cp:lastPrinted>2022-03-11T10:02:43Z</cp:lastPrinted>
  <dcterms:created xsi:type="dcterms:W3CDTF">2008-04-07T06:18:02Z</dcterms:created>
  <dcterms:modified xsi:type="dcterms:W3CDTF">2023-02-21T06:52:07Z</dcterms:modified>
</cp:coreProperties>
</file>